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notesSlides/notesSlide3.xml" ContentType="application/vnd.openxmlformats-officedocument.presentationml.notesSlide+xml"/>
  <Override PartName="/ppt/tags/tag10.xml" ContentType="application/vnd.openxmlformats-officedocument.presentationml.tags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notesMasterIdLst>
    <p:notesMasterId r:id="rId7"/>
  </p:notesMasterIdLst>
  <p:handoutMasterIdLst>
    <p:handoutMasterId r:id="rId8"/>
  </p:handoutMasterIdLst>
  <p:sldIdLst>
    <p:sldId id="656" r:id="rId3"/>
    <p:sldId id="910" r:id="rId4"/>
    <p:sldId id="908" r:id="rId5"/>
    <p:sldId id="909" r:id="rId6"/>
  </p:sldIdLst>
  <p:sldSz cx="12192000" cy="6858000"/>
  <p:notesSz cx="6805613" cy="9944100"/>
  <p:custDataLst>
    <p:tags r:id="rId9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3" pos="279" userDrawn="1">
          <p15:clr>
            <a:srgbClr val="A4A3A4"/>
          </p15:clr>
        </p15:guide>
        <p15:guide id="4" pos="3840" userDrawn="1">
          <p15:clr>
            <a:srgbClr val="A4A3A4"/>
          </p15:clr>
        </p15:guide>
        <p15:guide id="5" pos="7355" userDrawn="1">
          <p15:clr>
            <a:srgbClr val="A4A3A4"/>
          </p15:clr>
        </p15:guide>
        <p15:guide id="6" orient="horz" pos="3203" userDrawn="1">
          <p15:clr>
            <a:srgbClr val="A4A3A4"/>
          </p15:clr>
        </p15:guide>
        <p15:guide id="7" orient="horz" pos="3770" userDrawn="1">
          <p15:clr>
            <a:srgbClr val="A4A3A4"/>
          </p15:clr>
        </p15:guide>
        <p15:guide id="8" orient="horz" pos="1525" userDrawn="1">
          <p15:clr>
            <a:srgbClr val="A4A3A4"/>
          </p15:clr>
        </p15:guide>
        <p15:guide id="9" pos="1958" userDrawn="1">
          <p15:clr>
            <a:srgbClr val="A4A3A4"/>
          </p15:clr>
        </p15:guide>
        <p15:guide id="10" orient="horz" pos="1003" userDrawn="1">
          <p15:clr>
            <a:srgbClr val="A4A3A4"/>
          </p15:clr>
        </p15:guide>
        <p15:guide id="11" orient="horz" pos="550" userDrawn="1">
          <p15:clr>
            <a:srgbClr val="A4A3A4"/>
          </p15:clr>
        </p15:guide>
        <p15:guide id="13" pos="2593" userDrawn="1">
          <p15:clr>
            <a:srgbClr val="A4A3A4"/>
          </p15:clr>
        </p15:guide>
        <p15:guide id="14" orient="horz" pos="187" userDrawn="1">
          <p15:clr>
            <a:srgbClr val="A4A3A4"/>
          </p15:clr>
        </p15:guide>
        <p15:guide id="15" orient="horz" pos="150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v" initials="v" lastIdx="14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5DAE"/>
    <a:srgbClr val="2D2B8D"/>
    <a:srgbClr val="0073B8"/>
    <a:srgbClr val="6D86C4"/>
    <a:srgbClr val="FF4747"/>
    <a:srgbClr val="008F96"/>
    <a:srgbClr val="3D9FBD"/>
    <a:srgbClr val="CBD6F1"/>
    <a:srgbClr val="5A4888"/>
    <a:srgbClr val="2947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43" autoAdjust="0"/>
    <p:restoredTop sz="96408" autoAdjust="0"/>
  </p:normalViewPr>
  <p:slideViewPr>
    <p:cSldViewPr snapToGrid="0">
      <p:cViewPr varScale="1">
        <p:scale>
          <a:sx n="116" d="100"/>
          <a:sy n="116" d="100"/>
        </p:scale>
        <p:origin x="396" y="108"/>
      </p:cViewPr>
      <p:guideLst>
        <p:guide pos="279"/>
        <p:guide pos="3840"/>
        <p:guide pos="7355"/>
        <p:guide orient="horz" pos="3203"/>
        <p:guide orient="horz" pos="3770"/>
        <p:guide orient="horz" pos="1525"/>
        <p:guide pos="1958"/>
        <p:guide orient="horz" pos="1003"/>
        <p:guide orient="horz" pos="550"/>
        <p:guide pos="2593"/>
        <p:guide orient="horz" pos="187"/>
        <p:guide orient="horz" pos="1501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 varScale="1">
      <p:scale>
        <a:sx n="100" d="100"/>
        <a:sy n="100" d="100"/>
      </p:scale>
      <p:origin x="0" y="18174"/>
    </p:cViewPr>
  </p:sorterViewPr>
  <p:notesViewPr>
    <p:cSldViewPr snapToGrid="0">
      <p:cViewPr>
        <p:scale>
          <a:sx n="130" d="100"/>
          <a:sy n="130" d="100"/>
        </p:scale>
        <p:origin x="192" y="-48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450" y="0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E0B01-5135-4C2C-8993-28414D4B3686}" type="datetimeFigureOut">
              <a:rPr lang="ru-RU" smtClean="0"/>
              <a:t>07.10.2021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450" y="9445625"/>
            <a:ext cx="2949575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4374D61-2BC5-456A-87AC-0423C80EC83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695384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0" y="3"/>
            <a:ext cx="2949099" cy="498933"/>
          </a:xfrm>
          <a:prstGeom prst="rect">
            <a:avLst/>
          </a:prstGeom>
        </p:spPr>
        <p:txBody>
          <a:bodyPr vert="horz" lIns="91431" tIns="45715" rIns="91431" bIns="45715" rtlCol="0"/>
          <a:lstStyle>
            <a:lvl1pPr algn="r">
              <a:defRPr sz="1200"/>
            </a:lvl1pPr>
          </a:lstStyle>
          <a:p>
            <a:fld id="{0488621D-33F7-43DA-9DA1-6B62CCF928AF}" type="datetimeFigureOut">
              <a:rPr lang="ru-RU" smtClean="0"/>
              <a:pPr/>
              <a:t>07.10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0688" y="1243013"/>
            <a:ext cx="5964237" cy="33559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31" tIns="45715" rIns="91431" bIns="4571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3" y="4785598"/>
            <a:ext cx="5444490" cy="3915489"/>
          </a:xfrm>
          <a:prstGeom prst="rect">
            <a:avLst/>
          </a:prstGeom>
        </p:spPr>
        <p:txBody>
          <a:bodyPr vert="horz" lIns="91431" tIns="45715" rIns="91431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0" y="9445170"/>
            <a:ext cx="2949099" cy="498931"/>
          </a:xfrm>
          <a:prstGeom prst="rect">
            <a:avLst/>
          </a:prstGeom>
        </p:spPr>
        <p:txBody>
          <a:bodyPr vert="horz" lIns="91431" tIns="45715" rIns="91431" bIns="45715" rtlCol="0" anchor="b"/>
          <a:lstStyle>
            <a:lvl1pPr algn="r">
              <a:defRPr sz="1200"/>
            </a:lvl1pPr>
          </a:lstStyle>
          <a:p>
            <a:fld id="{9447256E-483B-4BC1-BFF8-D2418426C52D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32700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14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447256E-483B-4BC1-BFF8-D2418426C52D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33633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877668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204557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indent="287970"/>
            <a:endParaRPr lang="en-US" sz="1200" baseline="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447256E-483B-4BC1-BFF8-D2418426C52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0811734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10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1683530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10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688571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10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9178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5B73E46-0FBB-4229-8CBB-09B80B167E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729047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73557EA-3183-4660-8887-18C9CD5B6E02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3669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EAF90D3-F678-4AA2-BC13-F0EC35626B6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19209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57AC885-7A1B-43F1-B6BC-ED1A2B1ACC3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151233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CE4AC57-9A0D-4DE7-838A-D5602519448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97171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CA0E761-F77E-4A44-9560-BCDED5BAEA75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063948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EEF47A-FFA2-487B-BADC-239AA6539AA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4234772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47C012-AF97-4E12-B15C-9F146888FEC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17981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10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77750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683B024-6757-4AF0-8BCF-365FC435FEBD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388911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88878E5-7E8C-468C-B0D8-54E5FDFA2C06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78492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C26D4D7-FBB8-45CF-B201-8D5D147BA64A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96060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10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561812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10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4837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10.2021</a:t>
            </a:fld>
            <a:endParaRPr lang="ru-RU" dirty="0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00823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10.2021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849566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10.2021</a:t>
            </a:fld>
            <a:endParaRPr lang="ru-RU" dirty="0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117364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10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88730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D9EBC3-1554-42AE-B388-EFCB1C77785B}" type="datetimeFigureOut">
              <a:rPr lang="ru-RU" smtClean="0"/>
              <a:pPr/>
              <a:t>07.10.2021</a:t>
            </a:fld>
            <a:endParaRPr lang="ru-RU" dirty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48858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vmlDrawing" Target="../drawings/vmlDrawing2.v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5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406836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7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ru-RU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BD9EBC3-1554-42AE-B388-EFCB1C77785B}" type="datetimeFigureOut">
              <a:rPr lang="ru-RU" smtClean="0"/>
              <a:pPr/>
              <a:t>07.10.2021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B9B150-16F9-4654-A9FF-3F04349E5D0B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906364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>
            <a:extLst>
              <a:ext uri="{FF2B5EF4-FFF2-40B4-BE49-F238E27FC236}">
                <a16:creationId xmlns:a16="http://schemas.microsoft.com/office/drawing/2014/main" xmlns="" id="{336A5C21-8560-4361-BC34-8E7691E5DE3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720" name="Слайд think-cell" r:id="rId16" imgW="359" imgH="360" progId="TCLayout.ActiveDocument.1">
                  <p:embed/>
                </p:oleObj>
              </mc:Choice>
              <mc:Fallback>
                <p:oleObj name="Слайд think-cell" r:id="rId16" imgW="359" imgH="360" progId="TCLayout.ActiveDocument.1">
                  <p:embed/>
                  <p:pic>
                    <p:nvPicPr>
                      <p:cNvPr id="8" name="Объект 7" hidden="1">
                        <a:extLst>
                          <a:ext uri="{FF2B5EF4-FFF2-40B4-BE49-F238E27FC236}">
                            <a16:creationId xmlns:a16="http://schemas.microsoft.com/office/drawing/2014/main" xmlns="" id="{336A5C21-8560-4361-BC34-8E7691E5DE3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Прямоугольник 6" hidden="1">
            <a:extLst>
              <a:ext uri="{FF2B5EF4-FFF2-40B4-BE49-F238E27FC236}">
                <a16:creationId xmlns:a16="http://schemas.microsoft.com/office/drawing/2014/main" xmlns="" id="{C09A8BCA-0AC5-4653-AE0C-127E1ECAA6AD}"/>
              </a:ext>
            </a:extLst>
          </p:cNvPr>
          <p:cNvSpPr/>
          <p:nvPr userDrawn="1">
            <p:custDataLst>
              <p:tags r:id="rId1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20AD9F-A03A-4659-8941-6477DDD5F1F7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7.10.2021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CB9B150-16F9-4654-A9FF-3F04349E5D0B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14218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Relationship Id="rId9" Type="http://schemas.microsoft.com/office/2007/relationships/hdphoto" Target="../media/hdphoto1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3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2.xml"/><Relationship Id="rId9" Type="http://schemas.openxmlformats.org/officeDocument/2006/relationships/image" Target="NUL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13" Type="http://schemas.openxmlformats.org/officeDocument/2006/relationships/image" Target="../media/image11.jpeg"/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5.jpeg"/><Relationship Id="rId12" Type="http://schemas.openxmlformats.org/officeDocument/2006/relationships/image" Target="../media/image10.jpeg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11" Type="http://schemas.openxmlformats.org/officeDocument/2006/relationships/image" Target="../media/image9.jpeg"/><Relationship Id="rId5" Type="http://schemas.openxmlformats.org/officeDocument/2006/relationships/oleObject" Target="../embeddings/oleObject5.bin"/><Relationship Id="rId15" Type="http://schemas.openxmlformats.org/officeDocument/2006/relationships/image" Target="../media/image13.jpeg"/><Relationship Id="rId10" Type="http://schemas.openxmlformats.org/officeDocument/2006/relationships/image" Target="../media/image8.jpe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.jpeg"/><Relationship Id="rId14" Type="http://schemas.openxmlformats.org/officeDocument/2006/relationships/image" Target="../media/image12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>
            <a:extLst>
              <a:ext uri="{FF2B5EF4-FFF2-40B4-BE49-F238E27FC236}">
                <a16:creationId xmlns:a16="http://schemas.microsoft.com/office/drawing/2014/main" xmlns="" id="{F28B5AF9-254C-449F-805A-200563AB240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986" name="Слайд think-cell" r:id="rId6" imgW="359" imgH="360" progId="TCLayout.ActiveDocument.1">
                  <p:embed/>
                </p:oleObj>
              </mc:Choice>
              <mc:Fallback>
                <p:oleObj name="Слайд think-cell" r:id="rId6" imgW="359" imgH="360" progId="TCLayout.ActiveDocument.1">
                  <p:embed/>
                  <p:pic>
                    <p:nvPicPr>
                      <p:cNvPr id="7" name="Объект 6" hidden="1">
                        <a:extLst>
                          <a:ext uri="{FF2B5EF4-FFF2-40B4-BE49-F238E27FC236}">
                            <a16:creationId xmlns:a16="http://schemas.microsoft.com/office/drawing/2014/main" xmlns="" id="{F28B5AF9-254C-449F-805A-200563AB24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>
            <a:extLst>
              <a:ext uri="{FF2B5EF4-FFF2-40B4-BE49-F238E27FC236}">
                <a16:creationId xmlns:a16="http://schemas.microsoft.com/office/drawing/2014/main" xmlns="" id="{D7EC1761-6312-4AB4-8DAC-F08C2EC72D30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5400" dirty="0"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  <a:sym typeface="Open Sans Light" panose="020B0306030504020204" pitchFamily="34" charset="0"/>
            </a:endParaRPr>
          </a:p>
        </p:txBody>
      </p:sp>
      <p:pic>
        <p:nvPicPr>
          <p:cNvPr id="6" name="Рисунок 5" descr="000356.jpg"/>
          <p:cNvPicPr>
            <a:picLocks noChangeAspect="1"/>
          </p:cNvPicPr>
          <p:nvPr/>
        </p:nvPicPr>
        <p:blipFill rotWithShape="1"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</a:extLst>
          </a:blip>
          <a:srcRect t="81" b="8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xmlns="" id="{D63DCCC5-C5C7-4939-A893-4A4DB73304DC}"/>
              </a:ext>
            </a:extLst>
          </p:cNvPr>
          <p:cNvSpPr/>
          <p:nvPr/>
        </p:nvSpPr>
        <p:spPr>
          <a:xfrm rot="10800000">
            <a:off x="0" y="0"/>
            <a:ext cx="12192000" cy="6858000"/>
          </a:xfrm>
          <a:prstGeom prst="rect">
            <a:avLst/>
          </a:prstGeom>
          <a:gradFill>
            <a:gsLst>
              <a:gs pos="0">
                <a:srgbClr val="00B0F0">
                  <a:alpha val="70000"/>
                </a:srgbClr>
              </a:gs>
              <a:gs pos="88000">
                <a:srgbClr val="2D2B8D">
                  <a:alpha val="70000"/>
                </a:srgbClr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95738" y="2639553"/>
            <a:ext cx="10216392" cy="789447"/>
          </a:xfrm>
        </p:spPr>
        <p:txBody>
          <a:bodyPr lIns="0" tIns="0" rIns="0" bIns="0">
            <a:spAutoFit/>
          </a:bodyPr>
          <a:lstStyle/>
          <a:p>
            <a:pPr algn="l">
              <a:lnSpc>
                <a:spcPct val="95000"/>
              </a:lnSpc>
            </a:pPr>
            <a:r>
              <a:rPr lang="ru-RU" sz="540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НОВИНКИ ОКТЯБРЯ </a:t>
            </a:r>
            <a:r>
              <a:rPr lang="ru-RU" sz="5400" dirty="0" smtClean="0">
                <a:solidFill>
                  <a:schemeClr val="bg1"/>
                </a:solidFill>
                <a:latin typeface="+mn-lt"/>
                <a:ea typeface="Open Sans Light" panose="020B0306030504020204" pitchFamily="34" charset="0"/>
                <a:cs typeface="Open Sans Light" panose="020B0306030504020204" pitchFamily="34" charset="0"/>
              </a:rPr>
              <a:t>2021</a:t>
            </a:r>
            <a:endParaRPr lang="ru-RU" sz="5400" dirty="0">
              <a:solidFill>
                <a:schemeClr val="bg1"/>
              </a:solidFill>
              <a:latin typeface="+mn-lt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sp>
        <p:nvSpPr>
          <p:cNvPr id="8" name="AutoShape 4"/>
          <p:cNvSpPr>
            <a:spLocks noChangeAspect="1" noChangeArrowheads="1" noTextEdit="1"/>
          </p:cNvSpPr>
          <p:nvPr/>
        </p:nvSpPr>
        <p:spPr bwMode="auto">
          <a:xfrm>
            <a:off x="10099577" y="300997"/>
            <a:ext cx="1500931" cy="5180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>
              <a:solidFill>
                <a:schemeClr val="bg1"/>
              </a:solidFill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C5B8FA12-8F11-450D-B1D4-14C77A453207}"/>
              </a:ext>
            </a:extLst>
          </p:cNvPr>
          <p:cNvGrpSpPr/>
          <p:nvPr/>
        </p:nvGrpSpPr>
        <p:grpSpPr>
          <a:xfrm>
            <a:off x="9480931" y="5602514"/>
            <a:ext cx="2131199" cy="736914"/>
            <a:chOff x="10099577" y="300997"/>
            <a:chExt cx="1512553" cy="523002"/>
          </a:xfrm>
          <a:solidFill>
            <a:schemeClr val="bg1"/>
          </a:solidFill>
        </p:grpSpPr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10104558" y="546724"/>
              <a:ext cx="576131" cy="33206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11029357" y="546724"/>
              <a:ext cx="576131" cy="33206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10099577" y="666268"/>
              <a:ext cx="131166" cy="122864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2" name="Freeform 9"/>
            <p:cNvSpPr>
              <a:spLocks noEditPoints="1"/>
            </p:cNvSpPr>
            <p:nvPr/>
          </p:nvSpPr>
          <p:spPr bwMode="auto">
            <a:xfrm>
              <a:off x="10253987" y="666268"/>
              <a:ext cx="89658" cy="122864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0368549" y="664607"/>
              <a:ext cx="121204" cy="126184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0517978" y="664607"/>
              <a:ext cx="111241" cy="126184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5" name="Freeform 12"/>
            <p:cNvSpPr>
              <a:spLocks noEditPoints="1"/>
            </p:cNvSpPr>
            <p:nvPr/>
          </p:nvSpPr>
          <p:spPr bwMode="auto">
            <a:xfrm>
              <a:off x="10654125" y="666268"/>
              <a:ext cx="96299" cy="122864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6" name="Freeform 13"/>
            <p:cNvSpPr>
              <a:spLocks/>
            </p:cNvSpPr>
            <p:nvPr/>
          </p:nvSpPr>
          <p:spPr bwMode="auto">
            <a:xfrm>
              <a:off x="10778649" y="666268"/>
              <a:ext cx="89658" cy="122864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10893211" y="666268"/>
              <a:ext cx="189277" cy="157731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8" name="Freeform 15"/>
            <p:cNvSpPr>
              <a:spLocks/>
            </p:cNvSpPr>
            <p:nvPr/>
          </p:nvSpPr>
          <p:spPr bwMode="auto">
            <a:xfrm>
              <a:off x="11100751" y="666268"/>
              <a:ext cx="91317" cy="122864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19" name="Freeform 16"/>
            <p:cNvSpPr>
              <a:spLocks/>
            </p:cNvSpPr>
            <p:nvPr/>
          </p:nvSpPr>
          <p:spPr bwMode="auto">
            <a:xfrm>
              <a:off x="11216974" y="666268"/>
              <a:ext cx="129505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11368063" y="666268"/>
              <a:ext cx="131166" cy="122864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11519152" y="666268"/>
              <a:ext cx="92978" cy="122864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  <p:sp>
          <p:nvSpPr>
            <p:cNvPr id="22" name="Freeform 19"/>
            <p:cNvSpPr>
              <a:spLocks noEditPoints="1"/>
            </p:cNvSpPr>
            <p:nvPr/>
          </p:nvSpPr>
          <p:spPr bwMode="auto">
            <a:xfrm>
              <a:off x="10735481" y="300997"/>
              <a:ext cx="240746" cy="303839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18265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>
            <a:extLst>
              <a:ext uri="{FF2B5EF4-FFF2-40B4-BE49-F238E27FC236}">
                <a16:creationId xmlns:a16="http://schemas.microsoft.com/office/drawing/2014/main" xmlns="" id="{C57A16CD-55A2-4F01-A658-438A93B431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8049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4" name="Объект 3" hidden="1">
                        <a:extLst>
                          <a:ext uri="{FF2B5EF4-FFF2-40B4-BE49-F238E27FC236}">
                            <a16:creationId xmlns:a16="http://schemas.microsoft.com/office/drawing/2014/main" xmlns="" id="{C57A16CD-55A2-4F01-A658-438A93B431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xmlns="" id="{7ED3B4AB-2944-4CB8-974F-92CE170CCDE7}"/>
              </a:ext>
            </a:extLst>
          </p:cNvPr>
          <p:cNvSpPr/>
          <p:nvPr/>
        </p:nvSpPr>
        <p:spPr>
          <a:xfrm rot="10800000">
            <a:off x="7140775" y="0"/>
            <a:ext cx="5080000" cy="6858000"/>
          </a:xfrm>
          <a:prstGeom prst="rect">
            <a:avLst/>
          </a:prstGeom>
          <a:gradFill>
            <a:gsLst>
              <a:gs pos="0">
                <a:srgbClr val="00B0F0"/>
              </a:gs>
              <a:gs pos="88000">
                <a:srgbClr val="2D2B8D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xmlns="" id="{721DBF65-A5EE-42BD-A8DA-21D7B69EA723}"/>
              </a:ext>
            </a:extLst>
          </p:cNvPr>
          <p:cNvSpPr txBox="1"/>
          <p:nvPr/>
        </p:nvSpPr>
        <p:spPr>
          <a:xfrm>
            <a:off x="1717731" y="2129838"/>
            <a:ext cx="4607542" cy="93564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-40" normalizeH="0" baseline="0" noProof="0" dirty="0" smtClean="0">
                <a:ln>
                  <a:noFill/>
                </a:ln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Коррекционная педагогика</a:t>
            </a:r>
            <a:endParaRPr kumimoji="0" lang="ru-RU" sz="3200" b="1" i="0" u="none" strike="noStrike" kern="1200" cap="none" spc="-40" normalizeH="0" baseline="0" noProof="0" dirty="0">
              <a:ln>
                <a:noFill/>
              </a:ln>
              <a:gradFill>
                <a:gsLst>
                  <a:gs pos="88000">
                    <a:srgbClr val="00B0F0"/>
                  </a:gs>
                  <a:gs pos="0">
                    <a:srgbClr val="2D2B8D"/>
                  </a:gs>
                </a:gsLst>
                <a:lin ang="2400000" scaled="0"/>
              </a:gra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60" name="Номер слайда 2">
            <a:extLst>
              <a:ext uri="{FF2B5EF4-FFF2-40B4-BE49-F238E27FC236}">
                <a16:creationId xmlns:a16="http://schemas.microsoft.com/office/drawing/2014/main" xmlns="" id="{3FC4D94E-3F7B-457C-A7CE-EAF00E7B718A}"/>
              </a:ext>
            </a:extLst>
          </p:cNvPr>
          <p:cNvSpPr txBox="1">
            <a:spLocks/>
          </p:cNvSpPr>
          <p:nvPr/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ru-RU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85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76954" y="1933225"/>
            <a:ext cx="935645" cy="935641"/>
            <a:chOff x="576954" y="1933225"/>
            <a:chExt cx="935645" cy="935641"/>
          </a:xfrm>
        </p:grpSpPr>
        <p:sp>
          <p:nvSpPr>
            <p:cNvPr id="23" name="Овал 22">
              <a:extLst>
                <a:ext uri="{FF2B5EF4-FFF2-40B4-BE49-F238E27FC236}">
                  <a16:creationId xmlns:a16="http://schemas.microsoft.com/office/drawing/2014/main" xmlns="" id="{6C2484BF-A76B-4B95-9B8A-5C002E16225E}"/>
                </a:ext>
              </a:extLst>
            </p:cNvPr>
            <p:cNvSpPr/>
            <p:nvPr/>
          </p:nvSpPr>
          <p:spPr>
            <a:xfrm>
              <a:off x="576954" y="1933225"/>
              <a:ext cx="935645" cy="935641"/>
            </a:xfrm>
            <a:prstGeom prst="ellipse">
              <a:avLst/>
            </a:prstGeom>
            <a:ln w="28575">
              <a:gradFill>
                <a:gsLst>
                  <a:gs pos="0">
                    <a:srgbClr val="2D2B8D"/>
                  </a:gs>
                  <a:gs pos="88000">
                    <a:srgbClr val="00B0F0"/>
                  </a:gs>
                </a:gsLst>
                <a:lin ang="2400000" scaled="0"/>
              </a:gra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25" name="Рисунок 24">
              <a:extLst>
                <a:ext uri="{FF2B5EF4-FFF2-40B4-BE49-F238E27FC236}">
                  <a16:creationId xmlns:a16="http://schemas.microsoft.com/office/drawing/2014/main" xmlns="" id="{F556AEBB-BC7B-48BB-B38B-4137C2A55E3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733" y="2054475"/>
              <a:ext cx="656087" cy="656087"/>
            </a:xfrm>
            <a:prstGeom prst="rect">
              <a:avLst/>
            </a:prstGeom>
          </p:spPr>
        </p:pic>
      </p:grpSp>
      <p:grpSp>
        <p:nvGrpSpPr>
          <p:cNvPr id="14" name="Группа 13"/>
          <p:cNvGrpSpPr/>
          <p:nvPr/>
        </p:nvGrpSpPr>
        <p:grpSpPr>
          <a:xfrm>
            <a:off x="7483075" y="2245973"/>
            <a:ext cx="728340" cy="728336"/>
            <a:chOff x="7559745" y="1617031"/>
            <a:chExt cx="728340" cy="728336"/>
          </a:xfrm>
        </p:grpSpPr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xmlns="" id="{1B3EF5EA-9F06-4458-A78A-6CE112383FDD}"/>
                </a:ext>
              </a:extLst>
            </p:cNvPr>
            <p:cNvSpPr/>
            <p:nvPr/>
          </p:nvSpPr>
          <p:spPr>
            <a:xfrm>
              <a:off x="7559745" y="1617031"/>
              <a:ext cx="728340" cy="728336"/>
            </a:xfrm>
            <a:prstGeom prst="ellipse">
              <a:avLst/>
            </a:prstGeom>
            <a:ln w="28575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wrap="none" lIns="0" tIns="0" rIns="0" bIns="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85000"/>
                  </a:prstClr>
                </a:solidFill>
                <a:effectLst/>
                <a:uLnTx/>
                <a:uFillTx/>
                <a:latin typeface="Open Sans Extrabold" panose="020B0906030804020204" pitchFamily="34" charset="0"/>
                <a:ea typeface="Open Sans Extrabold" panose="020B0906030804020204" pitchFamily="34" charset="0"/>
                <a:cs typeface="Open Sans Extrabold" panose="020B0906030804020204" pitchFamily="34" charset="0"/>
              </a:endParaRPr>
            </a:p>
          </p:txBody>
        </p:sp>
        <p:pic>
          <p:nvPicPr>
            <p:cNvPr id="16" name="Рисунок 15" descr="Попасть в яблочко">
              <a:extLst>
                <a:ext uri="{FF2B5EF4-FFF2-40B4-BE49-F238E27FC236}">
                  <a16:creationId xmlns:a16="http://schemas.microsoft.com/office/drawing/2014/main" xmlns="" id="{3332B0D8-A807-4EFC-AFB5-23A266151D3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734300" y="1777850"/>
              <a:ext cx="406698" cy="406698"/>
            </a:xfrm>
            <a:prstGeom prst="rect">
              <a:avLst/>
            </a:prstGeom>
          </p:spPr>
        </p:pic>
      </p:grpSp>
      <p:sp>
        <p:nvSpPr>
          <p:cNvPr id="17" name="Прямоугольник 16"/>
          <p:cNvSpPr/>
          <p:nvPr/>
        </p:nvSpPr>
        <p:spPr>
          <a:xfrm>
            <a:off x="8379948" y="2435700"/>
            <a:ext cx="3170545" cy="43088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имерные программ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90304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9073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0987314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355632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Серия</a:t>
            </a:r>
            <a:r>
              <a:rPr lang="ru-RU" dirty="0"/>
              <a:t> </a:t>
            </a:r>
            <a:r>
              <a:rPr lang="ru-RU" dirty="0" smtClean="0"/>
              <a:t>«</a:t>
            </a:r>
            <a:r>
              <a:rPr lang="ru-RU" dirty="0"/>
              <a:t>ФГОС ОВЗ</a:t>
            </a:r>
            <a:r>
              <a:rPr lang="ru-RU" dirty="0" smtClean="0"/>
              <a:t>»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3198518" y="1484396"/>
            <a:ext cx="7593201" cy="34419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>
                <a:solidFill>
                  <a:prstClr val="black"/>
                </a:solidFill>
              </a:rPr>
              <a:t>Примерные рабочие программы по учебным предметам и коррекционным </a:t>
            </a:r>
            <a:r>
              <a:rPr lang="ru-RU" sz="1400" dirty="0" smtClean="0">
                <a:solidFill>
                  <a:prstClr val="black"/>
                </a:solidFill>
              </a:rPr>
              <a:t>курсам </a:t>
            </a:r>
            <a:r>
              <a:rPr lang="ru-RU" sz="1400" dirty="0" smtClean="0"/>
              <a:t>разработаны </a:t>
            </a:r>
            <a:r>
              <a:rPr lang="ru-RU" sz="1400" dirty="0"/>
              <a:t>в соответствии с требованиями ФГОС НОО обучающихся с ОВЗ для </a:t>
            </a:r>
            <a:r>
              <a:rPr lang="ru-RU" sz="1400" dirty="0" smtClean="0"/>
              <a:t>2 классов.</a:t>
            </a:r>
          </a:p>
          <a:p>
            <a:pPr algn="just"/>
            <a:endParaRPr lang="ru-RU" sz="1400" dirty="0" smtClean="0"/>
          </a:p>
          <a:p>
            <a:pPr algn="just">
              <a:spcAft>
                <a:spcPts val="600"/>
              </a:spcAft>
            </a:pPr>
            <a:r>
              <a:rPr lang="ru-RU" sz="1400" dirty="0" smtClean="0"/>
              <a:t>Каждая </a:t>
            </a:r>
            <a:r>
              <a:rPr lang="ru-RU" sz="1400" dirty="0"/>
              <a:t>примерная рабочая программа содержит: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пояснительную записку;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основное содержание учебного предмета, коррекционного курса;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календарно-тематическое планирование;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рекомендации по учебно-методическому и материально-техническому обеспечению образовательной деятельности;</a:t>
            </a:r>
          </a:p>
          <a:p>
            <a:pPr marL="285750" indent="-285750">
              <a:spcAft>
                <a:spcPts val="400"/>
              </a:spcAft>
              <a:buClr>
                <a:srgbClr val="0070C0"/>
              </a:buClr>
              <a:buFont typeface="Wingdings" panose="05000000000000000000" pitchFamily="2" charset="2"/>
              <a:buChar char="ü"/>
            </a:pPr>
            <a:r>
              <a:rPr lang="ru-RU" sz="1400" dirty="0"/>
              <a:t>планируемые результаты изучения учебного предмета, курса. 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ru-RU" sz="1400" dirty="0" smtClean="0"/>
          </a:p>
          <a:p>
            <a:pPr algn="just"/>
            <a:r>
              <a:rPr lang="ru-RU" sz="1400" dirty="0"/>
              <a:t>Все программы одобрены решением федерального учебно-методического объединения по общему образованию (протокол №3/20 от 17.09.2020).</a:t>
            </a:r>
          </a:p>
          <a:p>
            <a:pPr marL="171450" indent="-171450" algn="just">
              <a:buFont typeface="Arial" panose="020B0604020202020204" pitchFamily="34" charset="0"/>
              <a:buChar char="•"/>
            </a:pPr>
            <a:endParaRPr lang="ru-RU" sz="1400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824" y="1451642"/>
            <a:ext cx="2613429" cy="342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9" name="Рисунок 8" descr="Y:\Мои файлы\2021\Программы 2-3 классы\Обложки\40-1291-01_cover.jpg"/>
          <p:cNvPicPr/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07632" y="5052132"/>
            <a:ext cx="1237217" cy="16535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1" name="Рисунок 10" descr="Y:\Мои файлы\2021\Программы 2-3 классы\Обложки\40-1293-01_cover.jpg"/>
          <p:cNvPicPr/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824" y="5052132"/>
            <a:ext cx="1263650" cy="165354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2" name="Рисунок 11" descr="Y:\Мои файлы\2021\Программы 2-3 классы\Обложки\40-1289-01_cover.jpg"/>
          <p:cNvPicPr/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0007" y="5046417"/>
            <a:ext cx="1268095" cy="16592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3" name="Рисунок 12" descr="Y:\Мои файлы\2021\Программы 2-3 классы\Обложки\40-1295-01_cover.jpg"/>
          <p:cNvPicPr/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03260" y="5046417"/>
            <a:ext cx="1248410" cy="1633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5" name="Рисунок 14" descr="Y:\Мои файлы\2021\Программы 2-3 классы\Обложки\40-1301-01_cover.jpg"/>
          <p:cNvPicPr/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6829" y="5046417"/>
            <a:ext cx="1259580" cy="1633855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6" name="Рисунок 15" descr="Y:\Мои файлы\2021\Программы 2-3 классы\Обложки\40-1299-01_cover.jpg"/>
          <p:cNvPicPr/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69245" y="5041660"/>
            <a:ext cx="1251585" cy="16383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7" name="Рисунок 16" descr="Y:\Мои файлы\2021\Программы 2-3 классы\Обложки\40-1303-01_cover.jpg"/>
          <p:cNvPicPr/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2814" y="5052133"/>
            <a:ext cx="1193662" cy="16278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8" name="Рисунок 17" descr="Y:\Мои файлы\2021\Программы 2-3 классы\Обложки\40-1305-01_cover.jpg"/>
          <p:cNvPicPr/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07994" y="5052132"/>
            <a:ext cx="1191049" cy="16278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9619074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>
            <a:extLst>
              <a:ext uri="{FF2B5EF4-FFF2-40B4-BE49-F238E27FC236}">
                <a16:creationId xmlns:a16="http://schemas.microsoft.com/office/drawing/2014/main" xmlns="" id="{30C5398E-7F5A-4524-8CD4-4EAB3A96D7B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097" name="Слайд think-cell" r:id="rId5" imgW="359" imgH="360" progId="TCLayout.ActiveDocument.1">
                  <p:embed/>
                </p:oleObj>
              </mc:Choice>
              <mc:Fallback>
                <p:oleObj name="Слайд think-cell" r:id="rId5" imgW="359" imgH="360" progId="TCLayout.ActiveDocument.1">
                  <p:embed/>
                  <p:pic>
                    <p:nvPicPr>
                      <p:cNvPr id="5" name="Объект 4" hidden="1">
                        <a:extLst>
                          <a:ext uri="{FF2B5EF4-FFF2-40B4-BE49-F238E27FC236}">
                            <a16:creationId xmlns:a16="http://schemas.microsoft.com/office/drawing/2014/main" xmlns="" id="{30C5398E-7F5A-4524-8CD4-4EAB3A96D7B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2"/>
          <p:cNvSpPr>
            <a:spLocks noGrp="1"/>
          </p:cNvSpPr>
          <p:nvPr>
            <p:ph type="sldNum" idx="4294967295"/>
          </p:nvPr>
        </p:nvSpPr>
        <p:spPr>
          <a:xfrm>
            <a:off x="11280577" y="557546"/>
            <a:ext cx="619324" cy="356659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000000-1234-1234-1234-123412341234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</p:txBody>
      </p: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xmlns="" id="{DEB654A0-C98F-4F96-9F38-182DA224F2D5}"/>
              </a:ext>
            </a:extLst>
          </p:cNvPr>
          <p:cNvCxnSpPr/>
          <p:nvPr/>
        </p:nvCxnSpPr>
        <p:spPr>
          <a:xfrm>
            <a:off x="0" y="1364343"/>
            <a:ext cx="11500701" cy="0"/>
          </a:xfrm>
          <a:prstGeom prst="line">
            <a:avLst/>
          </a:prstGeom>
          <a:ln w="28575">
            <a:gradFill>
              <a:gsLst>
                <a:gs pos="0">
                  <a:srgbClr val="2D2B8D"/>
                </a:gs>
                <a:gs pos="88000">
                  <a:srgbClr val="00B0F0"/>
                </a:gs>
              </a:gsLst>
              <a:lin ang="2400000" scaled="0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457616" y="355632"/>
            <a:ext cx="11322947" cy="4038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ru-RU"/>
            </a:defPPr>
            <a:lvl1pPr>
              <a:lnSpc>
                <a:spcPct val="95000"/>
              </a:lnSpc>
              <a:defRPr sz="3200" b="1" spc="-40">
                <a:gradFill>
                  <a:gsLst>
                    <a:gs pos="88000">
                      <a:srgbClr val="00B0F0"/>
                    </a:gs>
                    <a:gs pos="0">
                      <a:srgbClr val="2D2B8D"/>
                    </a:gs>
                  </a:gsLst>
                  <a:lin ang="2400000" scaled="0"/>
                </a:gradFill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>
              <a:lnSpc>
                <a:spcPct val="80000"/>
              </a:lnSpc>
            </a:pPr>
            <a:r>
              <a:rPr lang="ru-RU" dirty="0" smtClean="0"/>
              <a:t>Серия</a:t>
            </a:r>
            <a:r>
              <a:rPr lang="ru-RU" dirty="0"/>
              <a:t> </a:t>
            </a:r>
            <a:r>
              <a:rPr lang="ru-RU" dirty="0" smtClean="0"/>
              <a:t>«</a:t>
            </a:r>
            <a:r>
              <a:rPr lang="ru-RU" dirty="0"/>
              <a:t>ФГОС ОВЗ</a:t>
            </a:r>
            <a:r>
              <a:rPr lang="ru-RU" dirty="0" smtClean="0"/>
              <a:t>»</a:t>
            </a:r>
            <a:endParaRPr lang="ru-RU" dirty="0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8466559"/>
              </p:ext>
            </p:extLst>
          </p:nvPr>
        </p:nvGraphicFramePr>
        <p:xfrm>
          <a:off x="363656" y="1452535"/>
          <a:ext cx="11241155" cy="3766444"/>
        </p:xfrm>
        <a:graphic>
          <a:graphicData uri="http://schemas.openxmlformats.org/drawingml/2006/table">
            <a:tbl>
              <a:tblPr/>
              <a:tblGrid>
                <a:gridCol w="748759">
                  <a:extLst>
                    <a:ext uri="{9D8B030D-6E8A-4147-A177-3AD203B41FA5}">
                      <a16:colId xmlns:a16="http://schemas.microsoft.com/office/drawing/2014/main" xmlns="" val="4244176869"/>
                    </a:ext>
                  </a:extLst>
                </a:gridCol>
                <a:gridCol w="8103220">
                  <a:extLst>
                    <a:ext uri="{9D8B030D-6E8A-4147-A177-3AD203B41FA5}">
                      <a16:colId xmlns:a16="http://schemas.microsoft.com/office/drawing/2014/main" xmlns="" val="615967520"/>
                    </a:ext>
                  </a:extLst>
                </a:gridCol>
                <a:gridCol w="699492">
                  <a:extLst>
                    <a:ext uri="{9D8B030D-6E8A-4147-A177-3AD203B41FA5}">
                      <a16:colId xmlns:a16="http://schemas.microsoft.com/office/drawing/2014/main" xmlns="" val="3585334052"/>
                    </a:ext>
                  </a:extLst>
                </a:gridCol>
                <a:gridCol w="855967">
                  <a:extLst>
                    <a:ext uri="{9D8B030D-6E8A-4147-A177-3AD203B41FA5}">
                      <a16:colId xmlns:a16="http://schemas.microsoft.com/office/drawing/2014/main" xmlns="" val="1008523400"/>
                    </a:ext>
                  </a:extLst>
                </a:gridCol>
                <a:gridCol w="833717">
                  <a:extLst>
                    <a:ext uri="{9D8B030D-6E8A-4147-A177-3AD203B41FA5}">
                      <a16:colId xmlns:a16="http://schemas.microsoft.com/office/drawing/2014/main" xmlns="" val="2344288815"/>
                    </a:ext>
                  </a:extLst>
                </a:gridCol>
              </a:tblGrid>
              <a:tr h="420828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д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Наименование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Формат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ол-во страниц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Красочность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BDD7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96183790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301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обучающихся с задержкой психического развития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.2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5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823451141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1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слабослышащих и позднооглохших обучающихся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ы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.2, 2.3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28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2054573924"/>
                  </a:ext>
                </a:extLst>
              </a:tr>
              <a:tr h="3103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89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глухих обучающихся. Варианты 1.2, 1.3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80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67049805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7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обучающихся с тяжёлыми нарушениями речи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5.2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88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869677159"/>
                  </a:ext>
                </a:extLst>
              </a:tr>
              <a:tr h="3103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9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обучающихся с НОДА. Варианты 6.2, 6.3.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52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40828977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305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образования обучающихся с умственной отсталостью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ы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, 2.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32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139930590"/>
                  </a:ext>
                </a:extLst>
              </a:tr>
              <a:tr h="42082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303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обучающихся с расстройствами </a:t>
                      </a:r>
                      <a:r>
                        <a:rPr lang="ru-RU" sz="1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аутистич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спектра. </a:t>
                      </a: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/>
                      </a:r>
                      <a:b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r>
                        <a:rPr lang="ru-RU" sz="10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Варианты </a:t>
                      </a:r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.2, 8.3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8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44580998"/>
                  </a:ext>
                </a:extLst>
              </a:tr>
              <a:tr h="3103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5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слабовидящих обучающихся. Варианты 4.2, 4.3.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8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571779459"/>
                  </a:ext>
                </a:extLst>
              </a:tr>
              <a:tr h="31036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-1293-01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римерные рабочие программы по учебным предметам и коррекционным курсам НОО слепых обучающихся. Варианты 3.2, 3.3.  2 класс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70*90/16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00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 краска</a:t>
                      </a:r>
                    </a:p>
                  </a:txBody>
                  <a:tcPr marL="36000" marR="36000" marT="5725" marB="0" anchor="ctr">
                    <a:lnL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DEBF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0929892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037497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1L45Bs_49czdZE6X9rW1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Ksfz2C1qJMSUX3vhOgGv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5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069</TotalTime>
  <Words>312</Words>
  <Application>Microsoft Office PowerPoint</Application>
  <PresentationFormat>Широкоэкранный</PresentationFormat>
  <Paragraphs>72</Paragraphs>
  <Slides>4</Slides>
  <Notes>4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4</vt:i4>
      </vt:variant>
    </vt:vector>
  </HeadingPairs>
  <TitlesOfParts>
    <vt:vector size="14" baseType="lpstr">
      <vt:lpstr>Arial</vt:lpstr>
      <vt:lpstr>Calibri</vt:lpstr>
      <vt:lpstr>Calibri Light</vt:lpstr>
      <vt:lpstr>Open Sans</vt:lpstr>
      <vt:lpstr>Open Sans Extrabold</vt:lpstr>
      <vt:lpstr>Open Sans Light</vt:lpstr>
      <vt:lpstr>Wingdings</vt:lpstr>
      <vt:lpstr>Тема Office</vt:lpstr>
      <vt:lpstr>5_Тема Office</vt:lpstr>
      <vt:lpstr>Слайд think-cell</vt:lpstr>
      <vt:lpstr>НОВИНКИ ОКТЯБРЯ 2021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Komp</dc:creator>
  <cp:lastModifiedBy>User PC Vadim</cp:lastModifiedBy>
  <cp:revision>1233</cp:revision>
  <cp:lastPrinted>2021-03-09T13:01:30Z</cp:lastPrinted>
  <dcterms:created xsi:type="dcterms:W3CDTF">2018-07-24T05:59:49Z</dcterms:created>
  <dcterms:modified xsi:type="dcterms:W3CDTF">2021-10-07T06:56:52Z</dcterms:modified>
</cp:coreProperties>
</file>